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18B710-406E-4057-96E9-2BDBD8E11C1F}" v="54" dt="2023-02-28T00:16:32.9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576"/>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618B710-406E-4057-96E9-2BDBD8E11C1F}"/>
    <pc:docChg chg="addSld delSld modSld">
      <pc:chgData name="Roberto Gallardo" userId="49a044883f185952" providerId="LiveId" clId="{1618B710-406E-4057-96E9-2BDBD8E11C1F}" dt="2023-02-28T00:16:40.837" v="203" actId="1076"/>
      <pc:docMkLst>
        <pc:docMk/>
      </pc:docMkLst>
      <pc:sldChg chg="del">
        <pc:chgData name="Roberto Gallardo" userId="49a044883f185952" providerId="LiveId" clId="{1618B710-406E-4057-96E9-2BDBD8E11C1F}" dt="2023-02-25T14:38:44.341" v="4" actId="47"/>
        <pc:sldMkLst>
          <pc:docMk/>
          <pc:sldMk cId="1175010214" sldId="261"/>
        </pc:sldMkLst>
      </pc:sldChg>
      <pc:sldChg chg="addSp modSp mod">
        <pc:chgData name="Roberto Gallardo" userId="49a044883f185952" providerId="LiveId" clId="{1618B710-406E-4057-96E9-2BDBD8E11C1F}" dt="2023-02-28T00:10:19.926" v="12" actId="1076"/>
        <pc:sldMkLst>
          <pc:docMk/>
          <pc:sldMk cId="1418533539" sldId="271"/>
        </pc:sldMkLst>
        <pc:picChg chg="add mod">
          <ac:chgData name="Roberto Gallardo" userId="49a044883f185952" providerId="LiveId" clId="{1618B710-406E-4057-96E9-2BDBD8E11C1F}" dt="2023-02-28T00:10:19.926" v="12" actId="1076"/>
          <ac:picMkLst>
            <pc:docMk/>
            <pc:sldMk cId="1418533539" sldId="271"/>
            <ac:picMk id="6" creationId="{40581768-B75F-9151-5670-1210FD62876E}"/>
          </ac:picMkLst>
        </pc:picChg>
      </pc:sldChg>
      <pc:sldChg chg="addSp modSp mod">
        <pc:chgData name="Roberto Gallardo" userId="49a044883f185952" providerId="LiveId" clId="{1618B710-406E-4057-96E9-2BDBD8E11C1F}" dt="2023-02-28T00:12:12.691" v="69" actId="1076"/>
        <pc:sldMkLst>
          <pc:docMk/>
          <pc:sldMk cId="2124848710" sldId="281"/>
        </pc:sldMkLst>
        <pc:picChg chg="add mod">
          <ac:chgData name="Roberto Gallardo" userId="49a044883f185952" providerId="LiveId" clId="{1618B710-406E-4057-96E9-2BDBD8E11C1F}" dt="2023-02-28T00:12:12.691" v="69" actId="1076"/>
          <ac:picMkLst>
            <pc:docMk/>
            <pc:sldMk cId="2124848710" sldId="281"/>
            <ac:picMk id="6" creationId="{5024E6BC-B678-0E0A-11E9-3434F14C66AC}"/>
          </ac:picMkLst>
        </pc:picChg>
      </pc:sldChg>
      <pc:sldChg chg="addSp modSp mod">
        <pc:chgData name="Roberto Gallardo" userId="49a044883f185952" providerId="LiveId" clId="{1618B710-406E-4057-96E9-2BDBD8E11C1F}" dt="2023-02-28T00:13:15.717" v="78" actId="1076"/>
        <pc:sldMkLst>
          <pc:docMk/>
          <pc:sldMk cId="2028175529" sldId="282"/>
        </pc:sldMkLst>
        <pc:picChg chg="add mod">
          <ac:chgData name="Roberto Gallardo" userId="49a044883f185952" providerId="LiveId" clId="{1618B710-406E-4057-96E9-2BDBD8E11C1F}" dt="2023-02-28T00:13:15.717" v="78" actId="1076"/>
          <ac:picMkLst>
            <pc:docMk/>
            <pc:sldMk cId="2028175529" sldId="282"/>
            <ac:picMk id="7" creationId="{7AA93F6F-51BE-7A22-659E-C58B9BF51787}"/>
          </ac:picMkLst>
        </pc:picChg>
      </pc:sldChg>
      <pc:sldChg chg="addSp modSp mod">
        <pc:chgData name="Roberto Gallardo" userId="49a044883f185952" providerId="LiveId" clId="{1618B710-406E-4057-96E9-2BDBD8E11C1F}" dt="2023-02-28T00:13:40.741" v="90" actId="1076"/>
        <pc:sldMkLst>
          <pc:docMk/>
          <pc:sldMk cId="1326517747" sldId="283"/>
        </pc:sldMkLst>
        <pc:picChg chg="add mod">
          <ac:chgData name="Roberto Gallardo" userId="49a044883f185952" providerId="LiveId" clId="{1618B710-406E-4057-96E9-2BDBD8E11C1F}" dt="2023-02-28T00:13:40.741" v="90" actId="1076"/>
          <ac:picMkLst>
            <pc:docMk/>
            <pc:sldMk cId="1326517747" sldId="283"/>
            <ac:picMk id="7" creationId="{2B93E8ED-537B-E628-04F7-1E748175849F}"/>
          </ac:picMkLst>
        </pc:picChg>
      </pc:sldChg>
      <pc:sldChg chg="addSp modSp mod">
        <pc:chgData name="Roberto Gallardo" userId="49a044883f185952" providerId="LiveId" clId="{1618B710-406E-4057-96E9-2BDBD8E11C1F}" dt="2023-02-28T00:13:56.677" v="100" actId="1076"/>
        <pc:sldMkLst>
          <pc:docMk/>
          <pc:sldMk cId="783739251" sldId="284"/>
        </pc:sldMkLst>
        <pc:picChg chg="add mod">
          <ac:chgData name="Roberto Gallardo" userId="49a044883f185952" providerId="LiveId" clId="{1618B710-406E-4057-96E9-2BDBD8E11C1F}" dt="2023-02-28T00:13:56.677" v="100" actId="1076"/>
          <ac:picMkLst>
            <pc:docMk/>
            <pc:sldMk cId="783739251" sldId="284"/>
            <ac:picMk id="7" creationId="{694FC797-A437-50A9-49A5-A6FA54D1033B}"/>
          </ac:picMkLst>
        </pc:picChg>
      </pc:sldChg>
      <pc:sldChg chg="addSp modSp mod">
        <pc:chgData name="Roberto Gallardo" userId="49a044883f185952" providerId="LiveId" clId="{1618B710-406E-4057-96E9-2BDBD8E11C1F}" dt="2023-02-28T00:14:11.870" v="109" actId="1076"/>
        <pc:sldMkLst>
          <pc:docMk/>
          <pc:sldMk cId="1676122233" sldId="285"/>
        </pc:sldMkLst>
        <pc:picChg chg="add mod">
          <ac:chgData name="Roberto Gallardo" userId="49a044883f185952" providerId="LiveId" clId="{1618B710-406E-4057-96E9-2BDBD8E11C1F}" dt="2023-02-28T00:14:11.870" v="109" actId="1076"/>
          <ac:picMkLst>
            <pc:docMk/>
            <pc:sldMk cId="1676122233" sldId="285"/>
            <ac:picMk id="7" creationId="{D7D56690-A380-8749-D481-B931814A3380}"/>
          </ac:picMkLst>
        </pc:picChg>
      </pc:sldChg>
      <pc:sldChg chg="addSp modSp mod">
        <pc:chgData name="Roberto Gallardo" userId="49a044883f185952" providerId="LiveId" clId="{1618B710-406E-4057-96E9-2BDBD8E11C1F}" dt="2023-02-28T00:14:37.074" v="132" actId="1037"/>
        <pc:sldMkLst>
          <pc:docMk/>
          <pc:sldMk cId="3100398757" sldId="286"/>
        </pc:sldMkLst>
        <pc:picChg chg="add mod">
          <ac:chgData name="Roberto Gallardo" userId="49a044883f185952" providerId="LiveId" clId="{1618B710-406E-4057-96E9-2BDBD8E11C1F}" dt="2023-02-28T00:14:37.074" v="132" actId="1037"/>
          <ac:picMkLst>
            <pc:docMk/>
            <pc:sldMk cId="3100398757" sldId="286"/>
            <ac:picMk id="7" creationId="{43112017-0377-B181-5880-C22AB95F0061}"/>
          </ac:picMkLst>
        </pc:picChg>
      </pc:sldChg>
      <pc:sldChg chg="addSp modSp mod">
        <pc:chgData name="Roberto Gallardo" userId="49a044883f185952" providerId="LiveId" clId="{1618B710-406E-4057-96E9-2BDBD8E11C1F}" dt="2023-02-28T00:14:54.907" v="141" actId="1076"/>
        <pc:sldMkLst>
          <pc:docMk/>
          <pc:sldMk cId="1546475425" sldId="287"/>
        </pc:sldMkLst>
        <pc:picChg chg="add mod">
          <ac:chgData name="Roberto Gallardo" userId="49a044883f185952" providerId="LiveId" clId="{1618B710-406E-4057-96E9-2BDBD8E11C1F}" dt="2023-02-28T00:14:54.907" v="141" actId="1076"/>
          <ac:picMkLst>
            <pc:docMk/>
            <pc:sldMk cId="1546475425" sldId="287"/>
            <ac:picMk id="7" creationId="{EC601BB2-0BD5-1B9B-DDF9-8D3B4B8DADF6}"/>
          </ac:picMkLst>
        </pc:picChg>
      </pc:sldChg>
      <pc:sldChg chg="addSp modSp mod">
        <pc:chgData name="Roberto Gallardo" userId="49a044883f185952" providerId="LiveId" clId="{1618B710-406E-4057-96E9-2BDBD8E11C1F}" dt="2023-02-28T00:15:32.337" v="163" actId="1076"/>
        <pc:sldMkLst>
          <pc:docMk/>
          <pc:sldMk cId="1380517306" sldId="288"/>
        </pc:sldMkLst>
        <pc:picChg chg="add mod">
          <ac:chgData name="Roberto Gallardo" userId="49a044883f185952" providerId="LiveId" clId="{1618B710-406E-4057-96E9-2BDBD8E11C1F}" dt="2023-02-28T00:15:32.337" v="163" actId="1076"/>
          <ac:picMkLst>
            <pc:docMk/>
            <pc:sldMk cId="1380517306" sldId="288"/>
            <ac:picMk id="7" creationId="{4284ECAF-A125-E81A-0FA2-D871A635D17D}"/>
          </ac:picMkLst>
        </pc:picChg>
      </pc:sldChg>
      <pc:sldChg chg="addSp modSp mod">
        <pc:chgData name="Roberto Gallardo" userId="49a044883f185952" providerId="LiveId" clId="{1618B710-406E-4057-96E9-2BDBD8E11C1F}" dt="2023-02-28T00:15:48.969" v="173" actId="1076"/>
        <pc:sldMkLst>
          <pc:docMk/>
          <pc:sldMk cId="1388671151" sldId="289"/>
        </pc:sldMkLst>
        <pc:picChg chg="add mod">
          <ac:chgData name="Roberto Gallardo" userId="49a044883f185952" providerId="LiveId" clId="{1618B710-406E-4057-96E9-2BDBD8E11C1F}" dt="2023-02-28T00:15:48.969" v="173" actId="1076"/>
          <ac:picMkLst>
            <pc:docMk/>
            <pc:sldMk cId="1388671151" sldId="289"/>
            <ac:picMk id="7" creationId="{BC7D9F4A-B283-4E68-0E98-1EB2E05F2A58}"/>
          </ac:picMkLst>
        </pc:picChg>
      </pc:sldChg>
      <pc:sldChg chg="addSp modSp mod">
        <pc:chgData name="Roberto Gallardo" userId="49a044883f185952" providerId="LiveId" clId="{1618B710-406E-4057-96E9-2BDBD8E11C1F}" dt="2023-02-28T00:16:27.205" v="195" actId="1076"/>
        <pc:sldMkLst>
          <pc:docMk/>
          <pc:sldMk cId="2355376039" sldId="290"/>
        </pc:sldMkLst>
        <pc:spChg chg="mod">
          <ac:chgData name="Roberto Gallardo" userId="49a044883f185952" providerId="LiveId" clId="{1618B710-406E-4057-96E9-2BDBD8E11C1F}" dt="2023-02-28T00:16:16.523" v="187" actId="962"/>
          <ac:spMkLst>
            <pc:docMk/>
            <pc:sldMk cId="2355376039" sldId="290"/>
            <ac:spMk id="3" creationId="{F554B59C-7317-13C7-D16E-7ACCF379CFEE}"/>
          </ac:spMkLst>
        </pc:spChg>
        <pc:picChg chg="add mod">
          <ac:chgData name="Roberto Gallardo" userId="49a044883f185952" providerId="LiveId" clId="{1618B710-406E-4057-96E9-2BDBD8E11C1F}" dt="2023-02-28T00:16:27.205" v="195" actId="1076"/>
          <ac:picMkLst>
            <pc:docMk/>
            <pc:sldMk cId="2355376039" sldId="290"/>
            <ac:picMk id="8" creationId="{8E23FC4C-FCBA-B7B5-ACB8-023ECD4CB1B7}"/>
          </ac:picMkLst>
        </pc:picChg>
      </pc:sldChg>
      <pc:sldChg chg="addSp modSp mod">
        <pc:chgData name="Roberto Gallardo" userId="49a044883f185952" providerId="LiveId" clId="{1618B710-406E-4057-96E9-2BDBD8E11C1F}" dt="2023-02-28T00:16:40.837" v="203" actId="1076"/>
        <pc:sldMkLst>
          <pc:docMk/>
          <pc:sldMk cId="3757257295" sldId="291"/>
        </pc:sldMkLst>
        <pc:picChg chg="add mod">
          <ac:chgData name="Roberto Gallardo" userId="49a044883f185952" providerId="LiveId" clId="{1618B710-406E-4057-96E9-2BDBD8E11C1F}" dt="2023-02-28T00:16:40.837" v="203" actId="1076"/>
          <ac:picMkLst>
            <pc:docMk/>
            <pc:sldMk cId="3757257295" sldId="291"/>
            <ac:picMk id="8" creationId="{CEBE150C-2F55-35FA-835B-BF6D8C5F0F88}"/>
          </ac:picMkLst>
        </pc:picChg>
      </pc:sldChg>
      <pc:sldChg chg="addSp modSp mod">
        <pc:chgData name="Roberto Gallardo" userId="49a044883f185952" providerId="LiveId" clId="{1618B710-406E-4057-96E9-2BDBD8E11C1F}" dt="2023-02-28T00:15:13.298" v="151" actId="1076"/>
        <pc:sldMkLst>
          <pc:docMk/>
          <pc:sldMk cId="1259856727" sldId="292"/>
        </pc:sldMkLst>
        <pc:picChg chg="add mod">
          <ac:chgData name="Roberto Gallardo" userId="49a044883f185952" providerId="LiveId" clId="{1618B710-406E-4057-96E9-2BDBD8E11C1F}" dt="2023-02-28T00:15:13.298" v="151" actId="1076"/>
          <ac:picMkLst>
            <pc:docMk/>
            <pc:sldMk cId="1259856727" sldId="292"/>
            <ac:picMk id="7" creationId="{FAB96A3E-0901-4A18-7E33-8ACBD7D69584}"/>
          </ac:picMkLst>
        </pc:picChg>
      </pc:sldChg>
      <pc:sldChg chg="addSp modSp mod">
        <pc:chgData name="Roberto Gallardo" userId="49a044883f185952" providerId="LiveId" clId="{1618B710-406E-4057-96E9-2BDBD8E11C1F}" dt="2023-02-28T00:11:58.706" v="61" actId="1076"/>
        <pc:sldMkLst>
          <pc:docMk/>
          <pc:sldMk cId="3324519687" sldId="293"/>
        </pc:sldMkLst>
        <pc:picChg chg="add mod">
          <ac:chgData name="Roberto Gallardo" userId="49a044883f185952" providerId="LiveId" clId="{1618B710-406E-4057-96E9-2BDBD8E11C1F}" dt="2023-02-28T00:11:58.706" v="61" actId="1076"/>
          <ac:picMkLst>
            <pc:docMk/>
            <pc:sldMk cId="3324519687" sldId="293"/>
            <ac:picMk id="7" creationId="{6D54C0EA-5969-3293-5C96-04223B5D1588}"/>
          </ac:picMkLst>
        </pc:picChg>
      </pc:sldChg>
      <pc:sldChg chg="addSp modSp mod">
        <pc:chgData name="Roberto Gallardo" userId="49a044883f185952" providerId="LiveId" clId="{1618B710-406E-4057-96E9-2BDBD8E11C1F}" dt="2023-02-28T00:11:19.750" v="40" actId="1076"/>
        <pc:sldMkLst>
          <pc:docMk/>
          <pc:sldMk cId="3256182630" sldId="295"/>
        </pc:sldMkLst>
        <pc:picChg chg="add mod">
          <ac:chgData name="Roberto Gallardo" userId="49a044883f185952" providerId="LiveId" clId="{1618B710-406E-4057-96E9-2BDBD8E11C1F}" dt="2023-02-28T00:11:19.750" v="40" actId="1076"/>
          <ac:picMkLst>
            <pc:docMk/>
            <pc:sldMk cId="3256182630" sldId="295"/>
            <ac:picMk id="7" creationId="{5218384A-B798-0288-6C02-F24385C491B5}"/>
          </ac:picMkLst>
        </pc:picChg>
      </pc:sldChg>
      <pc:sldChg chg="addSp modSp mod">
        <pc:chgData name="Roberto Gallardo" userId="49a044883f185952" providerId="LiveId" clId="{1618B710-406E-4057-96E9-2BDBD8E11C1F}" dt="2023-02-28T00:11:45.050" v="52" actId="1076"/>
        <pc:sldMkLst>
          <pc:docMk/>
          <pc:sldMk cId="4057156843" sldId="296"/>
        </pc:sldMkLst>
        <pc:picChg chg="add mod">
          <ac:chgData name="Roberto Gallardo" userId="49a044883f185952" providerId="LiveId" clId="{1618B710-406E-4057-96E9-2BDBD8E11C1F}" dt="2023-02-28T00:11:45.050" v="52" actId="1076"/>
          <ac:picMkLst>
            <pc:docMk/>
            <pc:sldMk cId="4057156843" sldId="296"/>
            <ac:picMk id="7" creationId="{2B4998C4-89C6-F0DB-4355-E49A6EA29178}"/>
          </ac:picMkLst>
        </pc:picChg>
      </pc:sldChg>
      <pc:sldChg chg="addSp modSp mod">
        <pc:chgData name="Roberto Gallardo" userId="49a044883f185952" providerId="LiveId" clId="{1618B710-406E-4057-96E9-2BDBD8E11C1F}" dt="2023-02-28T00:10:53.558" v="29" actId="1076"/>
        <pc:sldMkLst>
          <pc:docMk/>
          <pc:sldMk cId="2080110827" sldId="297"/>
        </pc:sldMkLst>
        <pc:picChg chg="add mod">
          <ac:chgData name="Roberto Gallardo" userId="49a044883f185952" providerId="LiveId" clId="{1618B710-406E-4057-96E9-2BDBD8E11C1F}" dt="2023-02-28T00:10:53.558" v="29" actId="1076"/>
          <ac:picMkLst>
            <pc:docMk/>
            <pc:sldMk cId="2080110827" sldId="297"/>
            <ac:picMk id="6" creationId="{138AA738-E11B-5042-975E-812A852C3C3D}"/>
          </ac:picMkLst>
        </pc:picChg>
      </pc:sldChg>
      <pc:sldChg chg="addSp modSp mod">
        <pc:chgData name="Roberto Gallardo" userId="49a044883f185952" providerId="LiveId" clId="{1618B710-406E-4057-96E9-2BDBD8E11C1F}" dt="2023-02-28T00:10:36.628" v="20" actId="1076"/>
        <pc:sldMkLst>
          <pc:docMk/>
          <pc:sldMk cId="1532666867" sldId="298"/>
        </pc:sldMkLst>
        <pc:picChg chg="add mod">
          <ac:chgData name="Roberto Gallardo" userId="49a044883f185952" providerId="LiveId" clId="{1618B710-406E-4057-96E9-2BDBD8E11C1F}" dt="2023-02-28T00:10:36.628" v="20" actId="1076"/>
          <ac:picMkLst>
            <pc:docMk/>
            <pc:sldMk cId="1532666867" sldId="298"/>
            <ac:picMk id="6" creationId="{9CD7D9EA-6FC2-FFA1-6363-10B4FCFDA65B}"/>
          </ac:picMkLst>
        </pc:picChg>
      </pc:sldChg>
      <pc:sldChg chg="addSp modSp mod">
        <pc:chgData name="Roberto Gallardo" userId="49a044883f185952" providerId="LiveId" clId="{1618B710-406E-4057-96E9-2BDBD8E11C1F}" dt="2023-02-28T00:16:08.594" v="184" actId="1076"/>
        <pc:sldMkLst>
          <pc:docMk/>
          <pc:sldMk cId="1951376777" sldId="299"/>
        </pc:sldMkLst>
        <pc:picChg chg="add mod">
          <ac:chgData name="Roberto Gallardo" userId="49a044883f185952" providerId="LiveId" clId="{1618B710-406E-4057-96E9-2BDBD8E11C1F}" dt="2023-02-28T00:16:08.594" v="184" actId="1076"/>
          <ac:picMkLst>
            <pc:docMk/>
            <pc:sldMk cId="1951376777" sldId="299"/>
            <ac:picMk id="7" creationId="{935820B6-0BD4-91BB-CDD5-97EBF08B20E5}"/>
          </ac:picMkLst>
        </pc:picChg>
      </pc:sldChg>
      <pc:sldChg chg="modSp mod">
        <pc:chgData name="Roberto Gallardo" userId="49a044883f185952" providerId="LiveId" clId="{1618B710-406E-4057-96E9-2BDBD8E11C1F}" dt="2023-02-25T13:18:58.559" v="2" actId="20577"/>
        <pc:sldMkLst>
          <pc:docMk/>
          <pc:sldMk cId="1515423683" sldId="302"/>
        </pc:sldMkLst>
        <pc:spChg chg="mod">
          <ac:chgData name="Roberto Gallardo" userId="49a044883f185952" providerId="LiveId" clId="{1618B710-406E-4057-96E9-2BDBD8E11C1F}" dt="2023-02-25T13:18:58.559" v="2" actId="20577"/>
          <ac:spMkLst>
            <pc:docMk/>
            <pc:sldMk cId="1515423683" sldId="302"/>
            <ac:spMk id="5" creationId="{6AE302AC-8931-4144-BE52-DD1A8BA82462}"/>
          </ac:spMkLst>
        </pc:spChg>
        <pc:spChg chg="mod">
          <ac:chgData name="Roberto Gallardo" userId="49a044883f185952" providerId="LiveId" clId="{1618B710-406E-4057-96E9-2BDBD8E11C1F}" dt="2023-02-25T13:18:55.345" v="1" actId="20577"/>
          <ac:spMkLst>
            <pc:docMk/>
            <pc:sldMk cId="1515423683" sldId="302"/>
            <ac:spMk id="9" creationId="{E362A98F-7DCD-C67C-23CE-1BE182A133B4}"/>
          </ac:spMkLst>
        </pc:spChg>
      </pc:sldChg>
      <pc:sldChg chg="del">
        <pc:chgData name="Roberto Gallardo" userId="49a044883f185952" providerId="LiveId" clId="{1618B710-406E-4057-96E9-2BDBD8E11C1F}" dt="2023-02-25T14:38:44.341" v="4" actId="47"/>
        <pc:sldMkLst>
          <pc:docMk/>
          <pc:sldMk cId="2841628872" sldId="303"/>
        </pc:sldMkLst>
      </pc:sldChg>
      <pc:sldChg chg="del">
        <pc:chgData name="Roberto Gallardo" userId="49a044883f185952" providerId="LiveId" clId="{1618B710-406E-4057-96E9-2BDBD8E11C1F}" dt="2023-02-25T14:38:44.341" v="4" actId="47"/>
        <pc:sldMkLst>
          <pc:docMk/>
          <pc:sldMk cId="3084076302" sldId="304"/>
        </pc:sldMkLst>
      </pc:sldChg>
      <pc:sldChg chg="del">
        <pc:chgData name="Roberto Gallardo" userId="49a044883f185952" providerId="LiveId" clId="{1618B710-406E-4057-96E9-2BDBD8E11C1F}" dt="2023-02-25T14:38:44.341" v="4" actId="47"/>
        <pc:sldMkLst>
          <pc:docMk/>
          <pc:sldMk cId="473712435" sldId="305"/>
        </pc:sldMkLst>
      </pc:sldChg>
      <pc:sldChg chg="add">
        <pc:chgData name="Roberto Gallardo" userId="49a044883f185952" providerId="LiveId" clId="{1618B710-406E-4057-96E9-2BDBD8E11C1F}" dt="2023-02-25T14:38:40.871" v="3"/>
        <pc:sldMkLst>
          <pc:docMk/>
          <pc:sldMk cId="3887153598" sldId="307"/>
        </pc:sldMkLst>
      </pc:sldChg>
      <pc:sldChg chg="add">
        <pc:chgData name="Roberto Gallardo" userId="49a044883f185952" providerId="LiveId" clId="{1618B710-406E-4057-96E9-2BDBD8E11C1F}" dt="2023-02-25T14:38:40.871" v="3"/>
        <pc:sldMkLst>
          <pc:docMk/>
          <pc:sldMk cId="1392153055" sldId="308"/>
        </pc:sldMkLst>
      </pc:sldChg>
      <pc:sldChg chg="add">
        <pc:chgData name="Roberto Gallardo" userId="49a044883f185952" providerId="LiveId" clId="{1618B710-406E-4057-96E9-2BDBD8E11C1F}" dt="2023-02-25T14:38:40.871" v="3"/>
        <pc:sldMkLst>
          <pc:docMk/>
          <pc:sldMk cId="2365271369" sldId="309"/>
        </pc:sldMkLst>
      </pc:sldChg>
      <pc:sldChg chg="add">
        <pc:chgData name="Roberto Gallardo" userId="49a044883f185952" providerId="LiveId" clId="{1618B710-406E-4057-96E9-2BDBD8E11C1F}" dt="2023-02-25T14:38:40.871" v="3"/>
        <pc:sldMkLst>
          <pc:docMk/>
          <pc:sldMk cId="376369096"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Gates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F2DC90D-3439-CFF0-BE67-A43C8043D001}"/>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3652713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AEC772AF-E2E2-014B-D7D4-CB82A3238BEE}"/>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763690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0581768-B75F-9151-5670-1210FD6287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CD7D9EA-6FC2-FFA1-6363-10B4FCFDA6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38AA738-E11B-5042-975E-812A852C3C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0965" y="1028700"/>
            <a:ext cx="7613870" cy="5384202"/>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9AEEB8B-09C3-35CE-FA12-C120829528B6}"/>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5218384A-B798-0288-6C02-F24385C491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8523"/>
            <a:ext cx="6362700"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719F761-0F6C-08AB-3E43-EF0C965325F5}"/>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2B4998C4-89C6-F0DB-4355-E49A6EA291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6" y="1426936"/>
            <a:ext cx="6362699" cy="4499428"/>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6E17A14-FCFC-CF6E-F5AF-4803AFB670CC}"/>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6D54C0EA-5969-3293-5C96-04223B5D15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741"/>
            <a:ext cx="6362700" cy="449942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8F6A47F-4C5B-701A-C7E1-AC367B980B26}"/>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5024E6BC-B678-0E0A-11E9-3434F14C6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8970" y="1437481"/>
            <a:ext cx="6330630" cy="447675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12704724-1CC3-1697-8781-6582A94C94B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AA93F6F-51BE-7A22-659E-C58B9BF517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3).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206F0D4F-D131-9036-C113-C609FAE0D0A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B93E8ED-537B-E628-04F7-1E74817584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6791" y="1407992"/>
            <a:ext cx="6382809" cy="451364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85779474-EACF-B6FC-FDE8-24E5BC20B7BA}"/>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94FC797-A437-50A9-49A5-A6FA54D103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29388"/>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C712CA1-486E-5D97-937C-43D561FD0905}"/>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7D56690-A380-8749-D481-B931814A3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1083"/>
            <a:ext cx="6365781" cy="450160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CB00AAEF-B842-FB20-B243-1B504C2822BC}"/>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3112017-0377-B181-5880-C22AB95F00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1013" y="1440583"/>
            <a:ext cx="6348587" cy="448944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AE43B715-9659-CAFD-6A78-D12BD48203BB}"/>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C601BB2-0BD5-1B9B-DDF9-8D3B4B8DAD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649"/>
            <a:ext cx="6362700"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B9EBEBDE-C7D2-DB43-F44C-A58BC6620647}"/>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AB96A3E-0901-4A18-7E33-8ACBD7D695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7243" y="1417295"/>
            <a:ext cx="6371038" cy="4505325"/>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04A7BC8A-5F26-56A5-ED9F-A22A92EE4244}"/>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284ECAF-A125-E81A-0FA2-D871A635D1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3"/>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A07FF165-87A5-1952-9649-74687DB0BEDF}"/>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C7D9F4A-B283-4E68-0E98-1EB2E05F2A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78"/>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9C7F9078-43B3-3D53-BA3A-63776145FC69}"/>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935820B6-0BD4-91BB-CDD5-97EBF08B20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8972" y="1438275"/>
            <a:ext cx="6330628" cy="447674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2DC75857-0365-421D-EEB7-3495AEF3F8A5}"/>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8E23FC4C-FCBA-B7B5-ACB8-023ECD4CB1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4073" y="1426083"/>
            <a:ext cx="6375527" cy="450849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371BD20D-73C4-3933-614E-B02A9500E578}"/>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D7E84559-C76D-A882-65FC-F36A96DF60E0}"/>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CEBE150C-2F55-35FA-835B-BF6D8C5F0F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6024" y="1429119"/>
            <a:ext cx="6343577" cy="448590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072D7517-0F05-F071-4FEB-37FAEBDA245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0A8353D-F540-D9AF-F2AB-1C969CDD056B}"/>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A3FBAA-460C-13EF-AEE7-E5AF115371C5}"/>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315651"/>
            <a:ext cx="1198148" cy="2576463"/>
            <a:chOff x="10485745" y="3495762"/>
            <a:chExt cx="1198148" cy="25764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43414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60722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4957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495762"/>
              <a:ext cx="0" cy="8456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199661"/>
              <a:ext cx="0" cy="8725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5137C19-430C-476B-5FA6-73F87902B17B}"/>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43CDCCAC-AC0C-8A3B-1C2E-2A0B2B805C90}"/>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FADD460-CB56-3F85-1A83-5402AE87BCC1}"/>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59535FC-9A8E-EB31-E97F-C4295631D219}"/>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FBBC712B-3366-3745-1C82-755F928A5C4B}"/>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4367E067-8BE6-290D-3AC6-B514EBEAB0EF}"/>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C637B1A9-CB09-7386-9605-907170CFEEB7}"/>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887153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A8E4FCF2-3FE3-DB30-DA5F-E368A4B22B95}"/>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392153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7</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1</cp:revision>
  <dcterms:created xsi:type="dcterms:W3CDTF">2022-07-04T13:32:28Z</dcterms:created>
  <dcterms:modified xsi:type="dcterms:W3CDTF">2023-02-28T00:16:45Z</dcterms:modified>
</cp:coreProperties>
</file>